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5"/>
    <p:sldMasterId id="2147483690" r:id="rId6"/>
  </p:sldMasterIdLst>
  <p:notesMasterIdLst>
    <p:notesMasterId r:id="rId9"/>
  </p:notesMasterIdLst>
  <p:handoutMasterIdLst>
    <p:handoutMasterId r:id="rId10"/>
  </p:handoutMasterIdLst>
  <p:sldIdLst>
    <p:sldId id="386" r:id="rId7"/>
    <p:sldId id="363" r:id="rId8"/>
  </p:sldIdLst>
  <p:sldSz cx="12192000" cy="6858000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00A59B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782" autoAdjust="0"/>
  </p:normalViewPr>
  <p:slideViewPr>
    <p:cSldViewPr snapToGrid="0">
      <p:cViewPr varScale="1">
        <p:scale>
          <a:sx n="61" d="100"/>
          <a:sy n="61" d="100"/>
        </p:scale>
        <p:origin x="700" y="56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31-7-2020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31-7-2020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mailto:UKPortingDesk@Colt.net" TargetMode="External"/><Relationship Id="rId13" Type="http://schemas.openxmlformats.org/officeDocument/2006/relationships/image" Target="../media/image17.png"/><Relationship Id="rId3" Type="http://schemas.openxmlformats.org/officeDocument/2006/relationships/image" Target="../media/image12.jpg"/><Relationship Id="rId7" Type="http://schemas.openxmlformats.org/officeDocument/2006/relationships/hyperlink" Target="https://www.colt.net/porting-information/" TargetMode="External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www.colt.net/porting-information" TargetMode="External"/><Relationship Id="rId11" Type="http://schemas.openxmlformats.org/officeDocument/2006/relationships/image" Target="../media/image15.png"/><Relationship Id="rId5" Type="http://schemas.openxmlformats.org/officeDocument/2006/relationships/hyperlink" Target="https://s3.eu-west-2.amazonaws.com/cts-brand/Porting%20Information/Resources/Porting%20Matrix%20(Excel).xlsx?X-Amz-Content-Sha256=UNSIGNED-PAYLOAD&amp;X-Amz-Algorithm=AWS4-HMAC-SHA256&amp;X-Amz-Credential=AKIAI6WXOMDSM36VADGA/20180611/eu-west-2/s3/aws4_request&amp;X-Amz-Date=20180611T125320Z&amp;X-Amz-SignedHeaders=host&amp;X-Amz-Expires=1200&amp;X-Amz-Signature=67f10b06ce80dab609721e1e12087cc58f1628582324210ccdd93126be11fcf1" TargetMode="External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hyperlink" Target="https://s3.eu-west-2.amazonaws.com/cts-brand/Porting%20Information/Resources/Porting%20Matrix%20(Excel).xlsx?X-Amz-Content-Sha256=UNSIGNED-PAYLOAD&amp;X-Amz-Algorithm=AWS4-HMAC-SHA256&amp;X-Amz-Credential=AKIAI6WXOMDSM36VADGA/20181106/eu-west-2/s3/aws4_request&amp;X-Amz-Date=20181106T121550Z&amp;X-Amz-SignedHeaders=host&amp;X-Amz-Expires=1200&amp;X-Amz-Signature=e48009ee5f92473f832d2893cc21ed103869703b91265faba31d9b36ce4f3f52" TargetMode="External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– United Kingdom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284232"/>
              </p:ext>
            </p:extLst>
          </p:nvPr>
        </p:nvGraphicFramePr>
        <p:xfrm>
          <a:off x="805925" y="849114"/>
          <a:ext cx="10863790" cy="60909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6040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417750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434804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94342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 Business Hours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9:00–11:00, 11:00-13:00, 13:00-15:00,15:00-17:00 (GMT) </a:t>
                      </a: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 Business Hours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0:00–04:00 (GMT)</a:t>
                      </a: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Non-Geo: Letter of Authorisation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Geo: Letter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authorisation</a:t>
                      </a:r>
                      <a:endParaRPr lang="en-GB" sz="1400" kern="1200" dirty="0">
                        <a:solidFill>
                          <a:schemeClr val="accent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3382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4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0541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Geo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: 20 working days (SIP Trunking &amp; Voice Line)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2 working days (Number Hosting)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u="sng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n-Geo</a:t>
                      </a:r>
                      <a:r>
                        <a:rPr lang="en-GB" sz="1400" b="0" u="sng" kern="120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GB" sz="1400" b="0" baseline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6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working days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u="sng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Porting Matrix (Excel)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 at 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hlinkClick r:id="rId6"/>
                        </a:rPr>
                        <a:t>www.colt.net/porting-information</a:t>
                      </a:r>
                      <a:endParaRPr lang="en-GB" sz="1400" b="0" i="0" u="none" strike="noStrike" baseline="0" noProof="0" dirty="0">
                        <a:latin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under customer facing resources</a:t>
                      </a:r>
                      <a:br>
                        <a:rPr lang="en-GB" sz="1400" b="0" i="0" u="none" strike="noStrike" baseline="0" noProof="0" dirty="0">
                          <a:latin typeface="Arial"/>
                        </a:rPr>
                      </a:br>
                      <a:endParaRPr lang="en-GB" sz="1400" b="0" baseline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  <a:p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438515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833566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 working day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77371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56347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b="0" u="none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Main Carriers</a:t>
                      </a: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Check Porting Matri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https://www.colt.net/porting-information/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i="0" u="none" strike="noStrike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</a:rPr>
                        <a:t>Mailbox: 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Arial"/>
                          <a:hlinkClick r:id="rId8"/>
                        </a:rPr>
                        <a:t>UKPortingDesk@Colt.net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rdering</a:t>
                      </a: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s)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F Number: </a:t>
                      </a:r>
                      <a:r>
                        <a:rPr lang="en-GB" sz="1400" b="0" i="0" u="none" strike="noStrike" kern="1200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+44 8707377733</a:t>
                      </a:r>
                      <a:endParaRPr lang="en-GB" sz="1400" kern="1200" baseline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4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3914" y="3150134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912220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139" y="2261966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06" y="4216291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89" y="5594612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429" y="849114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420" y="2600358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4365" y="5658195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5bdb67a-68dc-4b72-be68-a086d460c31f">DHQ4KNS6T2M2-2111369996-106</_dlc_DocId>
    <_dlc_DocIdUrl xmlns="85bdb67a-68dc-4b72-be68-a086d460c31f">
      <Url>https://coltinternal.sharepoint.com/sites/pt/PortingInformation/_layouts/15/DocIdRedir.aspx?ID=DHQ4KNS6T2M2-2111369996-106</Url>
      <Description>DHQ4KNS6T2M2-2111369996-106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11EE867-812B-42AE-BB79-D58053E58A13}">
  <ds:schemaRefs>
    <ds:schemaRef ds:uri="http://schemas.microsoft.com/office/2006/documentManagement/types"/>
    <ds:schemaRef ds:uri="85bdb67a-68dc-4b72-be68-a086d460c31f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f1d1c7a4-d8f1-45db-9f4e-e74acd9c8e06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963CBA5-3CC8-4E76-B707-C7264595A3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FAA43A9-4145-4198-BEBD-E03B71C9DEB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F07713A1-5C42-4FBE-B0AA-02949B951FF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</Words>
  <Application>Microsoft Office PowerPoint</Application>
  <PresentationFormat>Widescreen</PresentationFormat>
  <Paragraphs>24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Open Sans</vt:lpstr>
      <vt:lpstr>Oswald</vt:lpstr>
      <vt:lpstr>Arial</vt:lpstr>
      <vt:lpstr>Calibri</vt:lpstr>
      <vt:lpstr>Courier New</vt:lpstr>
      <vt:lpstr>Segoe UI Light</vt:lpstr>
      <vt:lpstr>Times New Roman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Garner, Joseph</cp:lastModifiedBy>
  <cp:revision>478</cp:revision>
  <dcterms:created xsi:type="dcterms:W3CDTF">2017-08-30T16:21:34Z</dcterms:created>
  <dcterms:modified xsi:type="dcterms:W3CDTF">2020-07-31T10:2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394DB821ADB47B1D0005AAB7277E1</vt:lpwstr>
  </property>
  <property fmtid="{D5CDD505-2E9C-101B-9397-08002B2CF9AE}" pid="3" name="_dlc_DocIdItemGuid">
    <vt:lpwstr>ae566537-e351-47ff-ad1a-ec677197c7e0</vt:lpwstr>
  </property>
</Properties>
</file>